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5"/>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78A5903D-6208-45D6-94FE-D60BC299FECE}">
          <p14:sldIdLst>
            <p14:sldId id="2147475164"/>
            <p14:sldId id="2147475165"/>
            <p14:sldId id="2147475166"/>
            <p14:sldId id="2147475167"/>
            <p14:sldId id="2147475168"/>
          </p14:sldIdLst>
        </p14:section>
        <p14:section name="Innovation ranking" id="{9CBAFA9F-F1E5-47D6-9205-91893F817803}">
          <p14:sldIdLst>
            <p14:sldId id="2147475169"/>
            <p14:sldId id="2147475170"/>
            <p14:sldId id="2147475171"/>
            <p14:sldId id="2147475172"/>
            <p14:sldId id="2147475173"/>
          </p14:sldIdLst>
        </p14:section>
        <p14:section name="Innovation potential" id="{F4649D38-CBDF-4F3E-9F6C-0A7B106C8237}">
          <p14:sldIdLst>
            <p14:sldId id="2147475174"/>
            <p14:sldId id="2147475175"/>
            <p14:sldId id="2147475176"/>
            <p14:sldId id="2147475177"/>
            <p14:sldId id="2147475178"/>
          </p14:sldIdLst>
        </p14:section>
        <p14:section name="Innovation sourcing" id="{5A9A49CD-328C-48DA-BABF-EEE8F99D770C}">
          <p14:sldIdLst>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3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notesMaster" Target="notesMasters/notesMaster1.xml"/><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20 pack </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sz="500">
                        <a:solidFill>
                          <a:srgbClr val="006C6D"/>
                        </a:solidFill>
                      </a:rPr>
                      <a:t>Kirkland Disposable Razors 2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20 pack </c:v>
                </c:pt>
                <c:pt idx="4">
                  <c:v>None Razors</c:v>
                </c:pt>
                <c:pt idx="5">
                  <c:v>Harry's Razor Set Chrome Edition 1 Handle + 13 Cartridges</c:v>
                </c:pt>
              </c:strCache>
            </c:strRef>
          </c:cat>
          <c:val>
            <c:numRef>
              <c:f>Sheet1!$B$2:$B$7</c:f>
              <c:numCache>
                <c:formatCode>General</c:formatCode>
                <c:ptCount val="6"/>
                <c:pt idx="0">
                  <c:v>0.6166147599539377</c:v>
                </c:pt>
                <c:pt idx="1">
                  <c:v>0.38338524004606234</c:v>
                </c:pt>
                <c:pt idx="2">
                  <c:v>0.3557727079092232</c:v>
                </c:pt>
                <c:pt idx="3">
                  <c:v>0.26486839760964004</c:v>
                </c:pt>
                <c:pt idx="4">
                  <c:v>0.24035397268791103</c:v>
                </c:pt>
                <c:pt idx="5">
                  <c:v>0.1390049217932257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Disposable Razors 9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spPr>
              <a:solidFill>
                <a:srgbClr val="006C6D"/>
              </a:solidFill>
            </c:spPr>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r>
                      <a:rPr sz="500">
                        <a:solidFill>
                          <a:srgbClr val="006C6D"/>
                        </a:solidFill>
                      </a:rPr>
                      <a:t>Schick Xtreme 5 Disposable Razors 9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5 Disposable Razors 9 Pack</c:v>
                </c:pt>
                <c:pt idx="4">
                  <c:v>None Razors</c:v>
                </c:pt>
                <c:pt idx="5">
                  <c:v>Harry's Razor Set Chrome Edition 1 Handle + 13 Cartridges</c:v>
                </c:pt>
              </c:strCache>
            </c:strRef>
          </c:cat>
          <c:val>
            <c:numRef>
              <c:f>Sheet1!$B$2:$B$7</c:f>
              <c:numCache>
                <c:formatCode>General</c:formatCode>
                <c:ptCount val="6"/>
                <c:pt idx="0">
                  <c:v>0.6150447611689056</c:v>
                </c:pt>
                <c:pt idx="1">
                  <c:v>0.38495523883109445</c:v>
                </c:pt>
                <c:pt idx="2">
                  <c:v>0.35233651414462863</c:v>
                </c:pt>
                <c:pt idx="3">
                  <c:v>0.2858626822672071</c:v>
                </c:pt>
                <c:pt idx="4">
                  <c:v>0.22954082685346314</c:v>
                </c:pt>
                <c:pt idx="5">
                  <c:v>0.13225997673470102</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006C6D"/>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r>
                      <a:rPr sz="500">
                        <a:solidFill>
                          <a:srgbClr val="006C6D"/>
                        </a:solidFill>
                      </a:rPr>
                      <a:t>Schick Hydro 3 Ultra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Hydro 3 Ultra Sensitive 1 Handle + 20 Cartridges</c:v>
                </c:pt>
                <c:pt idx="5">
                  <c:v>Harry's Razor Set Chrome Edition 1 Handle + 13 Cartridges</c:v>
                </c:pt>
              </c:strCache>
            </c:strRef>
          </c:cat>
          <c:val>
            <c:numRef>
              <c:f>Sheet1!$B$2:$B$7</c:f>
              <c:numCache>
                <c:formatCode>General</c:formatCode>
                <c:ptCount val="6"/>
                <c:pt idx="0">
                  <c:v>0.6160844872734703</c:v>
                </c:pt>
                <c:pt idx="1">
                  <c:v>0.4222656833892813</c:v>
                </c:pt>
                <c:pt idx="2">
                  <c:v>0.3839155127265297</c:v>
                </c:pt>
                <c:pt idx="3">
                  <c:v>0.23697432096942422</c:v>
                </c:pt>
                <c:pt idx="4">
                  <c:v>0.21270686805794867</c:v>
                </c:pt>
                <c:pt idx="5">
                  <c:v>0.1280531275833458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16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006C6D"/>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r>
                      <a:rPr sz="500">
                        <a:solidFill>
                          <a:srgbClr val="006C6D"/>
                        </a:solidFill>
                      </a:rPr>
                      <a:t>Schick Hydro 5 Sensitive 1 Handle + 16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16 Cartridges</c:v>
                </c:pt>
              </c:strCache>
            </c:strRef>
          </c:cat>
          <c:val>
            <c:numRef>
              <c:f>Sheet1!$B$2:$B$7</c:f>
              <c:numCache>
                <c:formatCode>General</c:formatCode>
                <c:ptCount val="6"/>
                <c:pt idx="0">
                  <c:v>0.6162629744854023</c:v>
                </c:pt>
                <c:pt idx="1">
                  <c:v>0.4555300055661461</c:v>
                </c:pt>
                <c:pt idx="2">
                  <c:v>0.38373702551459765</c:v>
                </c:pt>
                <c:pt idx="3">
                  <c:v>0.2739049096173531</c:v>
                </c:pt>
                <c:pt idx="4">
                  <c:v>0.1428833986900312</c:v>
                </c:pt>
                <c:pt idx="5">
                  <c:v>0.127681686126469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006C6D"/>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r>
                      <a:rPr sz="500">
                        <a:solidFill>
                          <a:srgbClr val="006C6D"/>
                        </a:solidFill>
                      </a:rPr>
                      <a:t>Schick Hydro 5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20 Cartridges</c:v>
                </c:pt>
              </c:strCache>
            </c:strRef>
          </c:cat>
          <c:val>
            <c:numRef>
              <c:f>Sheet1!$B$2:$B$7</c:f>
              <c:numCache>
                <c:formatCode>General</c:formatCode>
                <c:ptCount val="6"/>
                <c:pt idx="0">
                  <c:v>0.6158353631590492</c:v>
                </c:pt>
                <c:pt idx="1">
                  <c:v>0.4654908856048755</c:v>
                </c:pt>
                <c:pt idx="2">
                  <c:v>0.3841646368409507</c:v>
                </c:pt>
                <c:pt idx="3">
                  <c:v>0.2769589747517573</c:v>
                </c:pt>
                <c:pt idx="4">
                  <c:v>0.1485918718685766</c:v>
                </c:pt>
                <c:pt idx="5">
                  <c:v>0.1089582677747905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Titanium 4 Blade Systems 1 Handle + 1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sz="500">
                        <a:solidFill>
                          <a:srgbClr val="006C6D"/>
                        </a:solidFill>
                      </a:rPr>
                      <a:t>Schick Quattro Titanium 4 Blade System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Quattro Titanium 4 Blade Systems 1 Handle + 13 Cartridges</c:v>
                </c:pt>
                <c:pt idx="5">
                  <c:v>Harry's Razor Set Chrome Edition 1 Handle + 13 Cartridges</c:v>
                </c:pt>
              </c:strCache>
            </c:strRef>
          </c:cat>
          <c:val>
            <c:numRef>
              <c:f>Sheet1!$B$2:$B$7</c:f>
              <c:numCache>
                <c:formatCode>General</c:formatCode>
                <c:ptCount val="6"/>
                <c:pt idx="0">
                  <c:v>0.6167817021016273</c:v>
                </c:pt>
                <c:pt idx="1">
                  <c:v>0.45523228343394645</c:v>
                </c:pt>
                <c:pt idx="2">
                  <c:v>0.3832182978983727</c:v>
                </c:pt>
                <c:pt idx="3">
                  <c:v>0.25677448910676226</c:v>
                </c:pt>
                <c:pt idx="4">
                  <c:v>0.15181087568751067</c:v>
                </c:pt>
                <c:pt idx="5">
                  <c:v>0.13618235177178062</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B$2:$B$2</c:f>
              <c:numCache>
                <c:formatCode>General</c:formatCode>
                <c:ptCount val="1"/>
                <c:pt idx="0">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C$2:$C$2</c:f>
              <c:numCache>
                <c:formatCode>General</c:formatCode>
                <c:ptCount val="1"/>
                <c:pt idx="0">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D$2:$D$2</c:f>
              <c:numCache>
                <c:formatCode>General</c:formatCode>
                <c:ptCount val="1"/>
                <c:pt idx="0">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C$2:$C$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D$2:$D$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C$2:$C$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D$2:$D$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30 pack </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006C6D"/>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r>
                      <a:rPr sz="500">
                        <a:solidFill>
                          <a:srgbClr val="006C6D"/>
                        </a:solidFill>
                      </a:rPr>
                      <a:t>Kirkland Disposable Razors 3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30 pack </c:v>
                </c:pt>
                <c:pt idx="4">
                  <c:v>None Razors</c:v>
                </c:pt>
                <c:pt idx="5">
                  <c:v>Harry's Razor Set Chrome Edition 1 Handle + 13 Cartridges</c:v>
                </c:pt>
              </c:strCache>
            </c:strRef>
          </c:cat>
          <c:val>
            <c:numRef>
              <c:f>Sheet1!$B$2:$B$7</c:f>
              <c:numCache>
                <c:formatCode>General</c:formatCode>
                <c:ptCount val="6"/>
                <c:pt idx="0">
                  <c:v>0.6167118478049013</c:v>
                </c:pt>
                <c:pt idx="1">
                  <c:v>0.3832881521950988</c:v>
                </c:pt>
                <c:pt idx="2">
                  <c:v>0.3390938240913519</c:v>
                </c:pt>
                <c:pt idx="3">
                  <c:v>0.2754169440703632</c:v>
                </c:pt>
                <c:pt idx="4">
                  <c:v>0.24906759443542584</c:v>
                </c:pt>
                <c:pt idx="5">
                  <c:v>0.1364216374028592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2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11973430396013</c:v>
                </c:pt>
                <c:pt idx="1">
                  <c:v>0.24056735833945805</c:v>
                </c:pt>
                <c:pt idx="2">
                  <c:v>0.14745921126452793</c:v>
                </c:pt>
                <c:pt idx="3">
                  <c:v>0.005752090230542393</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3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588491030130843</c:v>
                </c:pt>
                <c:pt idx="1">
                  <c:v>0.18939446179749697</c:v>
                </c:pt>
                <c:pt idx="2">
                  <c:v>0.15175643518941773</c:v>
                </c:pt>
                <c:pt idx="3">
                  <c:v>0.005275462210046071</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5 blade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2120816505316966</c:v>
                </c:pt>
                <c:pt idx="1">
                  <c:v>0.2979233183775443</c:v>
                </c:pt>
                <c:pt idx="2">
                  <c:v>0.2808685165692858</c:v>
                </c:pt>
                <c:pt idx="3">
                  <c:v>0.023677193377583384</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5 Blade Sensitive Refills 1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8</c:v>
                </c:pt>
                <c:pt idx="1">
                  <c:v>0.38148208326884153</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3 Ultra Sensitive Refill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81</c:v>
                </c:pt>
                <c:pt idx="1">
                  <c:v>0.381482083268841</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Schick Xtreme 3 Sensitive Disposable Razor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816518813510637</c:v>
                </c:pt>
                <c:pt idx="1">
                  <c:v>0.26630456147401965</c:v>
                </c:pt>
                <c:pt idx="2">
                  <c:v>0.15204355717491527</c:v>
                </c:pt>
                <c:pt idx="3">
                  <c:v>0.00915648303649833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3 Sensitive Disposable Razors 3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3004985491116</c:v>
                </c:pt>
                <c:pt idx="1">
                  <c:v>0.18595013891367332</c:v>
                </c:pt>
                <c:pt idx="2">
                  <c:v>0.12774936253721367</c:v>
                </c:pt>
                <c:pt idx="3">
                  <c:v>0.005957913232098407</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48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252175409463738</c:v>
                </c:pt>
                <c:pt idx="1">
                  <c:v>0.2101905238281481</c:v>
                </c:pt>
                <c:pt idx="2">
                  <c:v>0.16459193522547796</c:v>
                </c:pt>
                <c:pt idx="3">
                  <c:v>0.005035441419831883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6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5880817736398</c:v>
                </c:pt>
                <c:pt idx="1">
                  <c:v>0.16744429994072244</c:v>
                </c:pt>
                <c:pt idx="2">
                  <c:v>0.14596761828563792</c:v>
                </c:pt>
                <c:pt idx="3">
                  <c:v>0.0058985356021143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Schick Xtreme 5 Disposable Razors 9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780369791401142</c:v>
                </c:pt>
                <c:pt idx="1">
                  <c:v>0.26203305515690584</c:v>
                </c:pt>
                <c:pt idx="2">
                  <c:v>0.15992996570297965</c:v>
                </c:pt>
                <c:pt idx="3">
                  <c:v>0.010535468904736674</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5 blades 1 Handle + 13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sz="500">
                        <a:solidFill>
                          <a:srgbClr val="006C6D"/>
                        </a:solidFill>
                      </a:rPr>
                      <a:t>Kirkland 5 blade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Kirkland 5 blades 1 Handle + 13 Cartridges</c:v>
                </c:pt>
                <c:pt idx="5">
                  <c:v>Harry's Razor Set Chrome Edition 1 Handle + 13 Cartridges</c:v>
                </c:pt>
              </c:strCache>
            </c:strRef>
          </c:cat>
          <c:val>
            <c:numRef>
              <c:f>Sheet1!$B$2:$B$7</c:f>
              <c:numCache>
                <c:formatCode>General</c:formatCode>
                <c:ptCount val="6"/>
                <c:pt idx="0">
                  <c:v>0.613920227823565</c:v>
                </c:pt>
                <c:pt idx="1">
                  <c:v>0.438127507892898</c:v>
                </c:pt>
                <c:pt idx="2">
                  <c:v>0.386079772176435</c:v>
                </c:pt>
                <c:pt idx="3">
                  <c:v>0.2518459894475629</c:v>
                </c:pt>
                <c:pt idx="4">
                  <c:v>0.18394089652985843</c:v>
                </c:pt>
                <c:pt idx="5">
                  <c:v>0.1260856061296807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Ultra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3899153879431496</c:v>
                </c:pt>
                <c:pt idx="1">
                  <c:v>0.24901704080280004</c:v>
                </c:pt>
                <c:pt idx="2">
                  <c:v>0.31199142040288447</c:v>
                </c:pt>
                <c:pt idx="3">
                  <c:v>0.00918142288282161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Sensitive 1 Handle + 16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90183812024571</c:v>
                </c:pt>
                <c:pt idx="1">
                  <c:v>0.29530944047360685</c:v>
                </c:pt>
                <c:pt idx="2">
                  <c:v>0.21567217832393484</c:v>
                </c:pt>
                <c:pt idx="3">
                  <c:v>0.01518077980964269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599149655270374</c:v>
                </c:pt>
                <c:pt idx="1">
                  <c:v>0.28943407853603076</c:v>
                </c:pt>
                <c:pt idx="2">
                  <c:v>0.22457442491126214</c:v>
                </c:pt>
                <c:pt idx="3">
                  <c:v>0.02186717479829346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Titanium 4 Blade System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014197552697062</c:v>
                </c:pt>
                <c:pt idx="1">
                  <c:v>0.2971149637864346</c:v>
                </c:pt>
                <c:pt idx="2">
                  <c:v>0.30146528094385855</c:v>
                </c:pt>
                <c:pt idx="3">
                  <c:v>0.009226018944636627</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Refills 1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006C6D"/>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r>
                      <a:rPr sz="500">
                        <a:solidFill>
                          <a:srgbClr val="006C6D"/>
                        </a:solidFill>
                      </a:rPr>
                      <a:t>Schick Hydro 5 Blade Sensitive Refills 1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Gillette Mach 3 Advanced Refills 20 Pack</c:v>
                </c:pt>
                <c:pt idx="3">
                  <c:v>None Razors</c:v>
                </c:pt>
                <c:pt idx="4">
                  <c:v>Harry's Razor Set Chrome Edition 1 Handle + 13 Cartridges</c:v>
                </c:pt>
                <c:pt idx="5">
                  <c:v>Schick Hydro 5 Blade Sensitive Refills 16 Pack</c:v>
                </c:pt>
              </c:strCache>
            </c:strRef>
          </c:cat>
          <c:val>
            <c:numRef>
              <c:f>Sheet1!$B$2:$B$7</c:f>
              <c:numCache>
                <c:formatCode>General</c:formatCode>
                <c:ptCount val="6"/>
                <c:pt idx="0">
                  <c:v>0.5197258192498067</c:v>
                </c:pt>
                <c:pt idx="1">
                  <c:v>0.5145259295149346</c:v>
                </c:pt>
                <c:pt idx="2">
                  <c:v>0.3173431491274144</c:v>
                </c:pt>
                <c:pt idx="3">
                  <c:v>0.30137091989253156</c:v>
                </c:pt>
                <c:pt idx="4">
                  <c:v>0.17890326085766167</c:v>
                </c:pt>
                <c:pt idx="5">
                  <c:v>0.1681309213576511</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Refills 2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sz="500">
                        <a:solidFill>
                          <a:srgbClr val="006C6D"/>
                        </a:solidFill>
                      </a:rPr>
                      <a:t>Schick Hydro 3 Ultra Sensitive Refill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None Razors</c:v>
                </c:pt>
                <c:pt idx="3">
                  <c:v>Gillette Mach 3 Advanced Refills 20 Pack</c:v>
                </c:pt>
                <c:pt idx="4">
                  <c:v>Schick Hydro 3 Ultra Sensitive Refills 20 Pack</c:v>
                </c:pt>
                <c:pt idx="5">
                  <c:v>Harry's Razor Set Chrome Edition 1 Handle + 13 Cartridges</c:v>
                </c:pt>
              </c:strCache>
            </c:strRef>
          </c:cat>
          <c:val>
            <c:numRef>
              <c:f>Sheet1!$B$2:$B$7</c:f>
              <c:numCache>
                <c:formatCode>General</c:formatCode>
                <c:ptCount val="6"/>
                <c:pt idx="0">
                  <c:v>0.5197258192498067</c:v>
                </c:pt>
                <c:pt idx="1">
                  <c:v>0.47872706973683826</c:v>
                </c:pt>
                <c:pt idx="2">
                  <c:v>0.30137091989253156</c:v>
                </c:pt>
                <c:pt idx="3">
                  <c:v>0.29526355654427316</c:v>
                </c:pt>
                <c:pt idx="4">
                  <c:v>0.22600937371888863</c:v>
                </c:pt>
                <c:pt idx="5">
                  <c:v>0.1789032608576616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2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sz="500">
                        <a:solidFill>
                          <a:srgbClr val="006C6D"/>
                        </a:solidFill>
                      </a:rPr>
                      <a:t>Schick Xtreme 3 Sensitive Disposable Razor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3 Sensitive Disposable Razors 20 Pack</c:v>
                </c:pt>
                <c:pt idx="4">
                  <c:v>None Razors</c:v>
                </c:pt>
                <c:pt idx="5">
                  <c:v>Harry's Razor Set Chrome Edition 1 Handle + 13 Cartridges</c:v>
                </c:pt>
              </c:strCache>
            </c:strRef>
          </c:cat>
          <c:val>
            <c:numRef>
              <c:f>Sheet1!$B$2:$B$7</c:f>
              <c:numCache>
                <c:formatCode>General</c:formatCode>
                <c:ptCount val="6"/>
                <c:pt idx="0">
                  <c:v>0.6154620925345108</c:v>
                </c:pt>
                <c:pt idx="1">
                  <c:v>0.3845379074654892</c:v>
                </c:pt>
                <c:pt idx="2">
                  <c:v>0.3454137261242133</c:v>
                </c:pt>
                <c:pt idx="3">
                  <c:v>0.29402310083593247</c:v>
                </c:pt>
                <c:pt idx="4">
                  <c:v>0.22714335327795107</c:v>
                </c:pt>
                <c:pt idx="5">
                  <c:v>0.133419819761903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3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sz="500">
                        <a:solidFill>
                          <a:srgbClr val="006C6D"/>
                        </a:solidFill>
                      </a:rPr>
                      <a:t>Schick Xtreme 3 Sensitive Disposable Razors 3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3 Sensitive Disposable Razors 30 Pack</c:v>
                </c:pt>
                <c:pt idx="5">
                  <c:v>Harry's Razor Set Chrome Edition 1 Handle + 13 Cartridges</c:v>
                </c:pt>
              </c:strCache>
            </c:strRef>
          </c:cat>
          <c:val>
            <c:numRef>
              <c:f>Sheet1!$B$2:$B$7</c:f>
              <c:numCache>
                <c:formatCode>General</c:formatCode>
                <c:ptCount val="6"/>
                <c:pt idx="0">
                  <c:v>0.6168219145178288</c:v>
                </c:pt>
                <c:pt idx="1">
                  <c:v>0.38317808548217125</c:v>
                </c:pt>
                <c:pt idx="2">
                  <c:v>0.35290414889495375</c:v>
                </c:pt>
                <c:pt idx="3">
                  <c:v>0.25498164144607405</c:v>
                </c:pt>
                <c:pt idx="4">
                  <c:v>0.24608709953699362</c:v>
                </c:pt>
                <c:pt idx="5">
                  <c:v>0.1460271101219785</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48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006C6D"/>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r>
                      <a:rPr sz="500">
                        <a:solidFill>
                          <a:srgbClr val="006C6D"/>
                        </a:solidFill>
                      </a:rPr>
                      <a:t>Schick Xtreme 2 Sensitive Disposable Razors 48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2 Sensitive Disposable Razors 48 Pack</c:v>
                </c:pt>
                <c:pt idx="5">
                  <c:v>Harry's Razor Set Chrome Edition 1 Handle + 13 Cartridges</c:v>
                </c:pt>
              </c:strCache>
            </c:strRef>
          </c:cat>
          <c:val>
            <c:numRef>
              <c:f>Sheet1!$B$2:$B$7</c:f>
              <c:numCache>
                <c:formatCode>General</c:formatCode>
                <c:ptCount val="6"/>
                <c:pt idx="0">
                  <c:v>0.6170003041928581</c:v>
                </c:pt>
                <c:pt idx="1">
                  <c:v>0.38299969580714177</c:v>
                </c:pt>
                <c:pt idx="2">
                  <c:v>0.3684311039296426</c:v>
                </c:pt>
                <c:pt idx="3">
                  <c:v>0.25175366702442353</c:v>
                </c:pt>
                <c:pt idx="4">
                  <c:v>0.24069379684751988</c:v>
                </c:pt>
                <c:pt idx="5">
                  <c:v>0.1391214321984142</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6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sz="500">
                        <a:solidFill>
                          <a:srgbClr val="006C6D"/>
                        </a:solidFill>
                      </a:rPr>
                      <a:t>Schick Xtreme 2 Sensitive Disposable Razors 6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Xtreme 2 Sensitive Disposable Razors 60 Pack</c:v>
                </c:pt>
                <c:pt idx="5">
                  <c:v>Harry's Razor Set Chrome Edition 1 Handle + 13 Cartridges</c:v>
                </c:pt>
              </c:strCache>
            </c:strRef>
          </c:cat>
          <c:val>
            <c:numRef>
              <c:f>Sheet1!$B$2:$B$7</c:f>
              <c:numCache>
                <c:formatCode>General</c:formatCode>
                <c:ptCount val="6"/>
                <c:pt idx="0">
                  <c:v>0.6171373327695847</c:v>
                </c:pt>
                <c:pt idx="1">
                  <c:v>0.3839015575132797</c:v>
                </c:pt>
                <c:pt idx="2">
                  <c:v>0.38286266723041534</c:v>
                </c:pt>
                <c:pt idx="3">
                  <c:v>0.2669631305708745</c:v>
                </c:pt>
                <c:pt idx="4">
                  <c:v>0.20007849298690297</c:v>
                </c:pt>
                <c:pt idx="5">
                  <c:v>0.14905681892894296</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9/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7</a:t>
            </a:fld>
            <a:endParaRPr lang="en-CH"/>
          </a:p>
        </p:txBody>
      </p:sp>
    </p:spTree>
    <p:extLst>
      <p:ext uri="{BB962C8B-B14F-4D97-AF65-F5344CB8AC3E}">
        <p14:creationId xmlns:p14="http://schemas.microsoft.com/office/powerpoint/2010/main" val="1700127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 Id="rId6" Type="http://schemas.openxmlformats.org/officeDocument/2006/relationships/chart" Target="../charts/chart21.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 Id="rId6" Type="http://schemas.openxmlformats.org/officeDocument/2006/relationships/chart" Target="../charts/chart2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 Id="rId6" Type="http://schemas.openxmlformats.org/officeDocument/2006/relationships/chart" Target="../charts/chart26.xml"/><Relationship Id="rId7" Type="http://schemas.openxmlformats.org/officeDocument/2006/relationships/chart" Target="../charts/chart27.xml"/><Relationship Id="rId8" Type="http://schemas.openxmlformats.org/officeDocument/2006/relationships/chart" Target="../charts/chart28.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xml"/><Relationship Id="rId6" Type="http://schemas.openxmlformats.org/officeDocument/2006/relationships/chart" Target="../charts/chart31.xml"/><Relationship Id="rId7" Type="http://schemas.openxmlformats.org/officeDocument/2006/relationships/chart" Target="../charts/chart32.xml"/><Relationship Id="rId8" Type="http://schemas.openxmlformats.org/officeDocument/2006/relationships/chart" Target="../charts/chart33.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xml"/><Relationship Id="rId6"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xml"/><Relationship Id="rId6" Type="http://schemas.openxmlformats.org/officeDocument/2006/relationships/chart" Target="../charts/chart7.xml"/><Relationship Id="rId7" Type="http://schemas.openxmlformats.org/officeDocument/2006/relationships/chart" Target="../charts/chart8.xml"/><Relationship Id="rId8" Type="http://schemas.openxmlformats.org/officeDocument/2006/relationships/chart" Target="../charts/chart9.xml"/><Relationship Id="rId9"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Kirkland Disp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Kirkland Disposable Razors 2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Kirkland Disposable Razors 3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521616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Razor</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949618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Disp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596007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Razor</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91923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Blad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504054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Disp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402936">
                  <a:extLst>
                    <a:ext uri="{9D8B030D-6E8A-4147-A177-3AD203B41FA5}">
                      <a16:colId xmlns:a16="http://schemas.microsoft.com/office/drawing/2014/main" val="4292788590"/>
                    </a:ext>
                  </a:extLst>
                </a:gridCol>
                <a:gridCol w="1402936">
                  <a:extLst>
                    <a:ext uri="{9D8B030D-6E8A-4147-A177-3AD203B41FA5}">
                      <a16:colId xmlns:a16="http://schemas.microsoft.com/office/drawing/2014/main" val="401539003"/>
                    </a:ext>
                  </a:extLst>
                </a:gridCol>
                <a:gridCol w="1402936">
                  <a:extLst>
                    <a:ext uri="{9D8B030D-6E8A-4147-A177-3AD203B41FA5}">
                      <a16:colId xmlns:a16="http://schemas.microsoft.com/office/drawing/2014/main" val="138763722"/>
                    </a:ext>
                  </a:extLst>
                </a:gridCol>
                <a:gridCol w="1402936">
                  <a:extLst>
                    <a:ext uri="{9D8B030D-6E8A-4147-A177-3AD203B41FA5}">
                      <a16:colId xmlns:a16="http://schemas.microsoft.com/office/drawing/2014/main" val="2633844746"/>
                    </a:ext>
                  </a:extLst>
                </a:gridCol>
                <a:gridCol w="1402936">
                  <a:extLst>
                    <a:ext uri="{9D8B030D-6E8A-4147-A177-3AD203B41FA5}">
                      <a16:colId xmlns:a16="http://schemas.microsoft.com/office/drawing/2014/main" val="2595269352"/>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4297843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Razor</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053196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2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3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34136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5 blade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99483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Blad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Refills 1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Refill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Proglide Plus Refills 1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Gillette Mach 3 Advanced Refills 2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5 Disposable Razors 9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45209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3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48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6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Disposable Razors 9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algn="l">
                        <a:defRPr>
                          <a:latin typeface="Nexa Book"/>
                        </a:defRPr>
                      </a:pPr>
                      <a:r>
                        <a:rPr sz="700" b="0"/>
                        <a:t>Schick Hydro 3 Ultra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algn="l">
                        <a:defRPr>
                          <a:latin typeface="Nexa Book"/>
                        </a:defRPr>
                      </a:pPr>
                      <a:r>
                        <a:rPr sz="700" b="0"/>
                        <a:t>Kirkland Disposable Razors 3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algn="l">
                        <a:defRPr>
                          <a:latin typeface="Nexa Book"/>
                        </a:defRPr>
                      </a:pPr>
                      <a:r>
                        <a:rPr sz="700" b="0"/>
                        <a:t>Schick Quattro Titanium 4 Blade System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algn="l">
                        <a:defRPr>
                          <a:latin typeface="Nexa Book"/>
                        </a:defRPr>
                      </a:pPr>
                      <a:r>
                        <a:rPr sz="700" b="0"/>
                        <a:t>Kirkland 5 blade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898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Kirkland Razor</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Kirkland 5 blade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180377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16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Titanium 4 Blade System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561069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chick Blade</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Schick Hydro 5 Blade Sensitive Refills 1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Schick Hydro 3 Ultra Sensitive Refill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369486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chick Disp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696912">
                <a:tc>
                  <a:txBody>
                    <a:bodyPr/>
                    <a:lstStyle/>
                    <a:p>
                      <a:pPr algn="ctr">
                        <a:defRPr sz="800">
                          <a:latin typeface="Nexa Book"/>
                        </a:defRPr>
                      </a:pPr>
                      <a:r>
                        <a:rPr sz="700"/>
                        <a:t>Schick Xtreme 3 Sensitive Disposable Razor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696912">
                <a:tc>
                  <a:txBody>
                    <a:bodyPr/>
                    <a:lstStyle/>
                    <a:p>
                      <a:pPr algn="ctr">
                        <a:defRPr sz="800">
                          <a:latin typeface="Nexa Book"/>
                        </a:defRPr>
                      </a:pPr>
                      <a:r>
                        <a:rPr sz="700"/>
                        <a:t>Schick Xtreme 3 Sensitive Disposable Razors 3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696912">
                <a:tc>
                  <a:txBody>
                    <a:bodyPr/>
                    <a:lstStyle/>
                    <a:p>
                      <a:pPr algn="ctr">
                        <a:defRPr sz="800">
                          <a:latin typeface="Nexa Book"/>
                        </a:defRPr>
                      </a:pPr>
                      <a:r>
                        <a:rPr sz="700"/>
                        <a:t>Schick Xtreme 2 Sensitive Disposable Razors 48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696912">
                <a:tc>
                  <a:txBody>
                    <a:bodyPr/>
                    <a:lstStyle/>
                    <a:p>
                      <a:pPr algn="ctr">
                        <a:defRPr sz="800">
                          <a:latin typeface="Nexa Book"/>
                        </a:defRPr>
                      </a:pPr>
                      <a:r>
                        <a:rPr sz="700"/>
                        <a:t>Schick Xtreme 2 Sensitive Disposable Razors 6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696912">
                <a:tc>
                  <a:txBody>
                    <a:bodyPr/>
                    <a:lstStyle/>
                    <a:p>
                      <a:pPr algn="ctr">
                        <a:defRPr sz="800">
                          <a:latin typeface="Nexa Book"/>
                        </a:defRPr>
                      </a:pPr>
                      <a:r>
                        <a:rPr sz="700"/>
                        <a:t>Schick Xtreme 5 Disposable Razors 9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3.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144617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chick Razor</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Ultra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Sensitive 1 Handle + 16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7.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Titanium 4 Blade System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497615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Dispo</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3598107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Razor</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8650683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Blade</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416415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Dispo</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90BABC3B-0054-66FB-EC7F-6B54066BA6C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610912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89</Words>
  <Application>Microsoft Office PowerPoint</Application>
  <PresentationFormat>On-screen Show (16:9)</PresentationFormat>
  <Paragraphs>1126</Paragraphs>
  <Slides>2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20:01Z</dcterms:created>
  <dcterms:modified xsi:type="dcterms:W3CDTF">2025-08-19T13:4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